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660" r:id="rId4"/>
    <p:sldMasterId id="2147483671" r:id="rId5"/>
    <p:sldMasterId id="2147483663" r:id="rId6"/>
  </p:sldMasterIdLst>
  <p:notesMasterIdLst>
    <p:notesMasterId r:id="rId9"/>
  </p:notesMasterIdLst>
  <p:handoutMasterIdLst>
    <p:handoutMasterId r:id="rId10"/>
  </p:handoutMasterIdLst>
  <p:sldIdLst>
    <p:sldId id="1454" r:id="rId7"/>
    <p:sldId id="1501" r:id="rId8"/>
  </p:sldIdLst>
  <p:sldSz cx="12192000" cy="6858000"/>
  <p:notesSz cx="6797675" cy="9926638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3E69C38-0672-4C73-972D-36612406054B}">
          <p14:sldIdLst>
            <p14:sldId id="1454"/>
            <p14:sldId id="1501"/>
          </p14:sldIdLst>
        </p14:section>
      </p14:sectionLst>
    </p:ext>
    <p:ext uri="{EFAFB233-063F-42B5-8137-9DF3F51BA10A}">
      <p15:sldGuideLst xmlns:p15="http://schemas.microsoft.com/office/powerpoint/2012/main">
        <p15:guide id="2" pos="7559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8" pos="1164" userDrawn="1">
          <p15:clr>
            <a:srgbClr val="A4A3A4"/>
          </p15:clr>
        </p15:guide>
        <p15:guide id="9" pos="12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fadzwa T. Mudyiwa" initials="TTM" lastIdx="1" clrIdx="0"/>
  <p:cmAuthor id="2" name="Thulani Mashiloane" initials="TM" lastIdx="1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C1E1B5"/>
    <a:srgbClr val="438C3D"/>
    <a:srgbClr val="AEB0B3"/>
    <a:srgbClr val="FFC000"/>
    <a:srgbClr val="C7A205"/>
    <a:srgbClr val="FDF0B9"/>
    <a:srgbClr val="F9CB0D"/>
    <a:srgbClr val="E8E6DA"/>
    <a:srgbClr val="589D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44" autoAdjust="0"/>
    <p:restoredTop sz="93979" autoAdjust="0"/>
  </p:normalViewPr>
  <p:slideViewPr>
    <p:cSldViewPr>
      <p:cViewPr varScale="1">
        <p:scale>
          <a:sx n="73" d="100"/>
          <a:sy n="73" d="100"/>
        </p:scale>
        <p:origin x="558" y="78"/>
      </p:cViewPr>
      <p:guideLst>
        <p:guide pos="7559"/>
        <p:guide orient="horz" pos="799"/>
        <p:guide orient="horz" pos="4065"/>
        <p:guide pos="1164"/>
        <p:guide pos="12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04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94BC89-0EFB-400F-AB00-E9BE86C83DB9}" type="datetimeFigureOut">
              <a:rPr lang="en-ZA" smtClean="0"/>
              <a:t>2020/09/1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5811AE-EFFA-4DE1-9AED-08E1D06FCB62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218749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B7B8B3A5-3DF8-4762-975C-5522C8879A0F}" type="datetimeFigureOut">
              <a:rPr lang="en-ZA" smtClean="0"/>
              <a:pPr/>
              <a:t>2020/09/15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24D73F1-88B1-4782-A358-93EDEBB7D14D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528786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B24E2-E716-496A-894F-9CE9B30E4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56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B24E2-E716-496A-894F-9CE9B30E48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69750E-A7C3-4DC9-9AA3-D1A83FE866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368" y="274638"/>
            <a:ext cx="11175032" cy="70609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961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451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664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337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8418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 Colum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2AFF6B-0477-48B7-9CB9-814FB554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2AFF6B-0477-48B7-9CB9-814FB55437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021B93-E508-4C72-A62D-3031BBEA63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bg1"/>
              </a:solidFill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148230C-FC63-4FD4-B1D0-C4539887B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1628775"/>
            <a:ext cx="10943999" cy="4678825"/>
          </a:xfrm>
          <a:prstGeom prst="rect">
            <a:avLst/>
          </a:prstGeom>
        </p:spPr>
        <p:txBody>
          <a:bodyPr vert="horz" wrap="square" lIns="36000" tIns="0" rIns="0" bIns="0" rtlCol="0">
            <a:noAutofit/>
          </a:bodyPr>
          <a:lstStyle>
            <a:lvl1pPr marL="174625" indent="-174625">
              <a:tabLst>
                <a:tab pos="92075" algn="l"/>
              </a:tabLst>
              <a:defRPr sz="120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1pPr>
            <a:lvl2pPr marL="360363" indent="-185738"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2pPr>
            <a:lvl3pPr marL="534988" indent="-174625"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3pPr>
            <a:lvl4pPr marL="174625" indent="-174625">
              <a:defRPr lang="en-US" sz="1200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+mn-lt"/>
              </a:defRPr>
            </a:lvl4pPr>
            <a:lvl5pPr>
              <a:defRPr lang="en-GB" dirty="0">
                <a:solidFill>
                  <a:schemeClr val="accent3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 bullet</a:t>
            </a:r>
          </a:p>
          <a:p>
            <a:pPr lvl="2"/>
            <a:r>
              <a:rPr lang="en-US" dirty="0"/>
              <a:t>Third level bulle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60C3CC-758C-4057-87A5-8F8A86B6E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9D51C6-0715-49D0-8883-5FB6A1C582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1060450"/>
            <a:ext cx="10944225" cy="307975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180975" indent="0">
              <a:buFontTx/>
              <a:buNone/>
              <a:defRPr sz="1600"/>
            </a:lvl2pPr>
            <a:lvl3pPr marL="360363" indent="0">
              <a:buFontTx/>
              <a:buNone/>
              <a:defRPr sz="1600"/>
            </a:lvl3pPr>
            <a:lvl4pPr marL="468102" indent="0">
              <a:buFontTx/>
              <a:buNone/>
              <a:defRPr sz="1600"/>
            </a:lvl4pPr>
            <a:lvl5pPr marL="632211" indent="0">
              <a:buFontTx/>
              <a:buNone/>
              <a:defRPr sz="1600"/>
            </a:lvl5pPr>
          </a:lstStyle>
          <a:p>
            <a:pPr lvl="0"/>
            <a:r>
              <a:rPr lang="en-US" dirty="0"/>
              <a:t>Insert Sub Tit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99208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2CD82-3174-4400-9945-EEFFDB267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76605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4EDA630F-58FC-4948-8B14-077263F62E8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5DEEE08-7C00-4ADC-8092-2248789EC7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38927" y="3329703"/>
            <a:ext cx="2241751" cy="30777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i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endParaRPr lang="en-ZA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1C9452F-1984-4FEE-885B-B747D56C62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175983" y="3238471"/>
            <a:ext cx="2857899" cy="38105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6C24986-339B-4C2F-855F-17A7E96DBB3E}"/>
              </a:ext>
            </a:extLst>
          </p:cNvPr>
          <p:cNvSpPr txBox="1"/>
          <p:nvPr userDrawn="1"/>
        </p:nvSpPr>
        <p:spPr>
          <a:xfrm>
            <a:off x="2771428" y="6226566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00" dirty="0">
                <a:solidFill>
                  <a:schemeClr val="bg1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00" dirty="0">
                <a:solidFill>
                  <a:schemeClr val="bg1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046349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2771428" y="6355873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18" dirty="0"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A888493-B9AD-4E71-9676-73CC59E471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2017-01-31 05:58 AM South Africa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4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2016-08-05 09:24 AM South Africa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2" y="37257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9" y="6540990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0BB4E8-EFDF-49CF-9B63-88C88B338588}"/>
              </a:ext>
            </a:extLst>
          </p:cNvPr>
          <p:cNvSpPr txBox="1"/>
          <p:nvPr userDrawn="1"/>
        </p:nvSpPr>
        <p:spPr>
          <a:xfrm>
            <a:off x="2771428" y="6226566"/>
            <a:ext cx="8881437" cy="382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03"/>
            <a:r>
              <a:rPr lang="en-US" sz="900" dirty="0">
                <a:solidFill>
                  <a:schemeClr val="bg1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CONFIDENTIAL AND PROPRIETARY </a:t>
            </a:r>
            <a:br>
              <a:rPr lang="en-US" sz="900" dirty="0">
                <a:solidFill>
                  <a:schemeClr val="bg1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Any use of this material without the permission of Letsema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48282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718CFA8-5B01-492F-9E46-88A3A0445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638"/>
            <a:ext cx="12207939" cy="981012"/>
          </a:xfrm>
          <a:prstGeom prst="rect">
            <a:avLst/>
          </a:prstGeom>
        </p:spPr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04545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107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283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231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964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741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9300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0164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11" Type="http://schemas.openxmlformats.org/officeDocument/2006/relationships/tags" Target="../tags/tag10.xml"/><Relationship Id="rId24" Type="http://schemas.openxmlformats.org/officeDocument/2006/relationships/oleObject" Target="../embeddings/oleObject3.bin"/><Relationship Id="rId5" Type="http://schemas.openxmlformats.org/officeDocument/2006/relationships/theme" Target="../theme/theme3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5FACE0-2FD0-458E-9580-1CE04BE15C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2263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85FACE0-2FD0-458E-9580-1CE04BE15C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DEE1B9-CF89-47CF-9F21-2087050202F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1344" y="274638"/>
            <a:ext cx="10729192" cy="922114"/>
          </a:xfrm>
          <a:prstGeom prst="rect">
            <a:avLst/>
          </a:prstGeom>
        </p:spPr>
        <p:txBody>
          <a:bodyPr vert="horz" lIns="91341" tIns="45673" rIns="91341" bIns="4567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368" y="1600220"/>
            <a:ext cx="11175032" cy="3944111"/>
          </a:xfrm>
          <a:prstGeom prst="rect">
            <a:avLst/>
          </a:prstGeom>
        </p:spPr>
        <p:txBody>
          <a:bodyPr vert="horz" lIns="91341" tIns="45673" rIns="91341" bIns="4567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" t="6836" b="52119"/>
          <a:stretch/>
        </p:blipFill>
        <p:spPr>
          <a:xfrm>
            <a:off x="0" y="1052735"/>
            <a:ext cx="12205400" cy="21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552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0" r:id="rId2"/>
  </p:sldLayoutIdLst>
  <p:hf hdr="0" ftr="0" dt="0"/>
  <p:txStyles>
    <p:titleStyle>
      <a:lvl1pPr algn="l" defTabSz="913403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529" indent="-342529" algn="l" defTabSz="913403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136" indent="-285441" algn="l" defTabSz="913403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1755" indent="-228350" algn="l" defTabSz="9134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8455" indent="-228350" algn="l" defTabSz="913403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5157" indent="-228350" algn="l" defTabSz="913403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1846" indent="-228350" algn="l" defTabSz="9134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559" indent="-228350" algn="l" defTabSz="9134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262" indent="-228350" algn="l" defTabSz="9134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964" indent="-228350" algn="l" defTabSz="91340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02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03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04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06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10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208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913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613" algn="l" defTabSz="913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FA1491-C10F-4D1C-AF97-0194DC9B47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330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D210B16-AB0B-4CDF-9A9E-CEA6918815F8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bg1"/>
              </a:solidFill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80477" y="1980017"/>
            <a:ext cx="223298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Modified 2017-01-31 05:58 AM South Africa Standard Time</a:t>
            </a:r>
            <a:endParaRPr kumimoji="0" lang="x-none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89485" y="4197997"/>
            <a:ext cx="201497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ted 2016-08-05 09:24 AM South Africa Standard Time</a:t>
            </a:r>
            <a:endParaRPr kumimoji="0" lang="x-none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710744" y="549644"/>
            <a:ext cx="1078593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5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x-none" sz="816" b="0" i="0" u="none" strike="noStrike" kern="1200" cap="all" spc="0" normalizeH="0" baseline="0" noProof="0" dirty="0">
                <a:ln>
                  <a:noFill/>
                </a:ln>
                <a:solidFill>
                  <a:srgbClr val="0A2E4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8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0A2E4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7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6902" marR="0" lvl="0" indent="-106902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lang="x-none"/>
              </a:pPr>
              <a:r>
                <a:rPr kumimoji="0" lang="x-none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marR="0" lvl="0" indent="-62197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5214" algn="l"/>
                </a:tabLst>
                <a:defRPr/>
              </a:pPr>
              <a:r>
                <a:rPr kumimoji="0" lang="x-none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URCE 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none" sz="1632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03" y="291556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x-none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A2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2" y="6455861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1632" b="0" i="0" u="none" strike="noStrike" kern="1200" cap="none" spc="0" normalizeH="0" baseline="0" noProof="0" dirty="0">
              <a:ln>
                <a:noFill/>
              </a:ln>
              <a:solidFill>
                <a:srgbClr val="30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0" y="5183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6" y="285077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77" y="285077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632" b="0" i="0" u="none" strike="noStrike" kern="1200" cap="none" spc="0" normalizeH="0" baseline="0" noProof="0" dirty="0">
                <a:ln>
                  <a:noFill/>
                </a:ln>
                <a:solidFill>
                  <a:srgbClr val="3033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42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A2E46"/>
                </a:buClr>
                <a:buSzTx/>
                <a:buFontTx/>
                <a:buNone/>
                <a:tabLst/>
                <a:defRPr/>
              </a:pPr>
              <a:r>
                <a:rPr kumimoji="0" lang="x-none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30333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11759216" y="6485928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x-none" sz="816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x-none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85B04B-EB8D-4BA0-8956-B7B6252CEF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0743" y="1640686"/>
            <a:ext cx="10785931" cy="44886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84763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171450" indent="-171450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Segoe UI" panose="020B0502040204020203" pitchFamily="34" charset="0"/>
        <a:buChar char="●"/>
        <a:defRPr lang="x-none"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9388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00000"/>
        <a:buFont typeface="Segoe UI" panose="020B0502040204020203" pitchFamily="34" charset="0"/>
        <a:buChar char="□"/>
        <a:defRPr lang="x-none" sz="1200" baseline="0">
          <a:solidFill>
            <a:schemeClr val="tx1"/>
          </a:solidFill>
          <a:latin typeface="+mn-lt"/>
        </a:defRPr>
      </a:lvl2pPr>
      <a:lvl3pPr marL="541338" indent="-180975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00000"/>
        <a:buFont typeface="Segoe UI" panose="020B0502040204020203" pitchFamily="34" charset="0"/>
        <a:buChar char="−"/>
        <a:defRPr lang="x-none" sz="12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120000"/>
        <a:buFont typeface="Segoe UI" panose="020B0502040204020203" pitchFamily="34" charset="0"/>
        <a:buChar char="●"/>
        <a:defRPr lang="x-none" sz="12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accent3">
            <a:lumMod val="90000"/>
            <a:lumOff val="10000"/>
          </a:schemeClr>
        </a:buClr>
        <a:buSzPct val="89000"/>
        <a:buFont typeface="Segoe UI" panose="020B0502040204020203" pitchFamily="34" charset="0"/>
        <a:buChar char="●"/>
        <a:defRPr lang="x-none" sz="1200" baseline="0">
          <a:solidFill>
            <a:schemeClr val="accent3">
              <a:lumMod val="90000"/>
              <a:lumOff val="10000"/>
            </a:schemeClr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438">
          <p15:clr>
            <a:srgbClr val="F26B43"/>
          </p15:clr>
        </p15:guide>
        <p15:guide id="3" orient="horz" pos="572">
          <p15:clr>
            <a:srgbClr val="F26B43"/>
          </p15:clr>
        </p15:guide>
        <p15:guide id="4" pos="7242">
          <p15:clr>
            <a:srgbClr val="F26B43"/>
          </p15:clr>
        </p15:guide>
        <p15:guide id="5" orient="horz" pos="3861">
          <p15:clr>
            <a:srgbClr val="F26B43"/>
          </p15:clr>
        </p15:guide>
        <p15:guide id="6" orient="horz" pos="4074">
          <p15:clr>
            <a:srgbClr val="F26B43"/>
          </p15:clr>
        </p15:guide>
        <p15:guide id="7" orient="horz" pos="1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 bwMode="auto">
          <a:xfrm>
            <a:off x="821730" y="489549"/>
            <a:ext cx="10465283" cy="65369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r>
              <a:rPr lang="en-ZA" altLang="en-US" dirty="0" smtClean="0">
                <a:latin typeface="Arial" charset="0"/>
                <a:cs typeface="Arial" charset="0"/>
              </a:rPr>
              <a:t>#</a:t>
            </a:r>
            <a:r>
              <a:rPr lang="en-ZA" altLang="en-US" dirty="0" err="1" smtClean="0">
                <a:latin typeface="Arial" charset="0"/>
                <a:cs typeface="Arial" charset="0"/>
              </a:rPr>
              <a:t>RabiesEndsHere</a:t>
            </a:r>
            <a:endParaRPr lang="en-ZA" altLang="en-US" dirty="0" smtClean="0">
              <a:latin typeface="Arial" charset="0"/>
              <a:cs typeface="Arial" charset="0"/>
            </a:endParaRP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5140437"/>
              </p:ext>
            </p:extLst>
          </p:nvPr>
        </p:nvGraphicFramePr>
        <p:xfrm>
          <a:off x="822325" y="1306512"/>
          <a:ext cx="10464800" cy="4930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2400">
                  <a:extLst>
                    <a:ext uri="{9D8B030D-6E8A-4147-A177-3AD203B41FA5}">
                      <a16:colId xmlns:a16="http://schemas.microsoft.com/office/drawing/2014/main" val="1597109299"/>
                    </a:ext>
                  </a:extLst>
                </a:gridCol>
                <a:gridCol w="5232400">
                  <a:extLst>
                    <a:ext uri="{9D8B030D-6E8A-4147-A177-3AD203B41FA5}">
                      <a16:colId xmlns:a16="http://schemas.microsoft.com/office/drawing/2014/main" val="2010552817"/>
                    </a:ext>
                  </a:extLst>
                </a:gridCol>
              </a:tblGrid>
              <a:tr h="704400">
                <a:tc rowSpan="2">
                  <a:txBody>
                    <a:bodyPr/>
                    <a:lstStyle/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Let’s discuss 5 common myths about rabies that people believe. </a:t>
                      </a: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By staying informed of the facts, we can help others stay safe.  </a:t>
                      </a: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RabiesEndsHere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Vaccinate your animal by visiting your local veterinarian or state veterinarian. </a:t>
                      </a: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WorldRabiesDay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SAVCrabiesDay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CollaborateVaccinate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#ZeroBy30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34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Myth #1: Rabies is not preventable </a:t>
                      </a:r>
                    </a:p>
                    <a:p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3154859"/>
                  </a:ext>
                </a:extLst>
              </a:tr>
              <a:tr h="4226399">
                <a:tc vMerge="1">
                  <a:txBody>
                    <a:bodyPr/>
                    <a:lstStyle/>
                    <a:p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383440"/>
                  </a:ext>
                </a:extLst>
              </a:tr>
            </a:tbl>
          </a:graphicData>
        </a:graphic>
      </p:graphicFrame>
      <p:sp>
        <p:nvSpPr>
          <p:cNvPr id="614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10897868" y="6375651"/>
            <a:ext cx="410864" cy="228936"/>
          </a:xfrm>
          <a:prstGeom prst="rect">
            <a:avLst/>
          </a:prstGeo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71B7E77-68C8-4ACF-9B7F-51C929404C6F}" type="slidenum">
              <a:rPr lang="en-ZA" altLang="en-US"/>
              <a:pPr/>
              <a:t>1</a:t>
            </a:fld>
            <a:endParaRPr lang="en-ZA" alt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4371" y="2029428"/>
            <a:ext cx="4207883" cy="4207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148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 bwMode="auto">
          <a:xfrm>
            <a:off x="821730" y="489549"/>
            <a:ext cx="10465283" cy="65369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r>
              <a:rPr lang="en-ZA" altLang="en-US" dirty="0" smtClean="0">
                <a:latin typeface="Arial" charset="0"/>
                <a:cs typeface="Arial" charset="0"/>
              </a:rPr>
              <a:t>#</a:t>
            </a:r>
            <a:r>
              <a:rPr lang="en-ZA" altLang="en-US" dirty="0" err="1" smtClean="0">
                <a:latin typeface="Arial" charset="0"/>
                <a:cs typeface="Arial" charset="0"/>
              </a:rPr>
              <a:t>RabiesEndsHere</a:t>
            </a:r>
            <a:endParaRPr lang="en-ZA" altLang="en-US" dirty="0" smtClean="0">
              <a:latin typeface="Arial" charset="0"/>
              <a:cs typeface="Arial" charset="0"/>
            </a:endParaRP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8552111"/>
              </p:ext>
            </p:extLst>
          </p:nvPr>
        </p:nvGraphicFramePr>
        <p:xfrm>
          <a:off x="822325" y="1306513"/>
          <a:ext cx="10464800" cy="539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2400">
                  <a:extLst>
                    <a:ext uri="{9D8B030D-6E8A-4147-A177-3AD203B41FA5}">
                      <a16:colId xmlns:a16="http://schemas.microsoft.com/office/drawing/2014/main" val="1597109299"/>
                    </a:ext>
                  </a:extLst>
                </a:gridCol>
                <a:gridCol w="5232400">
                  <a:extLst>
                    <a:ext uri="{9D8B030D-6E8A-4147-A177-3AD203B41FA5}">
                      <a16:colId xmlns:a16="http://schemas.microsoft.com/office/drawing/2014/main" val="20105528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Myth#2: Rabies is 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curable</a:t>
                      </a:r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34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Myth #3: Rabies is only transmitted by dog bites </a:t>
                      </a:r>
                    </a:p>
                    <a:p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31548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WorldRabiesDay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34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#ZeroBy30</a:t>
                      </a:r>
                    </a:p>
                    <a:p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383440"/>
                  </a:ext>
                </a:extLst>
              </a:tr>
            </a:tbl>
          </a:graphicData>
        </a:graphic>
      </p:graphicFrame>
      <p:sp>
        <p:nvSpPr>
          <p:cNvPr id="614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10897868" y="6375651"/>
            <a:ext cx="410864" cy="228936"/>
          </a:xfrm>
          <a:prstGeom prst="rect">
            <a:avLst/>
          </a:prstGeo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E71B7E77-68C8-4ACF-9B7F-51C929404C6F}" type="slidenum">
              <a:rPr lang="en-ZA" altLang="en-US"/>
              <a:pPr/>
              <a:t>2</a:t>
            </a:fld>
            <a:endParaRPr lang="en-ZA" alt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2172" y="1688388"/>
            <a:ext cx="4470372" cy="42335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945" y="1686603"/>
            <a:ext cx="4312975" cy="431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784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58803100000000041447E+00&quot;&gt;&lt;m_msothmcolidx val=&quot;0&quot;/&gt;&lt;m_rgb r=&quot;8C&quot; g=&quot;8A&quot; b=&quot;79&quot;/&gt;&lt;m_nBrightness tagver0=&quot;26206&quot; tagname0=&quot;m_nBrightnessUNRECOGNIZED&quot; val=&quot;0&quot;/&gt;&lt;/elem&gt;&lt;elem m_fUsage=&quot;2.07767844010000013455E+00&quot;&gt;&lt;m_msothmcolidx val=&quot;0&quot;/&gt;&lt;m_rgb r=&quot;F1&quot; g=&quot;C0&quot; b=&quot;16&quot;/&gt;&lt;m_nBrightness tagver0=&quot;26206&quot; tagname0=&quot;m_nBrightnessUNRECOGNIZED&quot; val=&quot;0&quot;/&gt;&lt;/elem&gt;&lt;elem m_fUsage=&quot;1.80876411000000025808E+00&quot;&gt;&lt;m_msothmcolidx val=&quot;0&quot;/&gt;&lt;m_rgb r=&quot;D9&quot; g=&quot;D9&quot; b=&quot;D9&quot;/&gt;&lt;m_nBrightness tagver0=&quot;26206&quot; tagname0=&quot;m_nBrightnessUNRECOGNIZED&quot; val=&quot;0&quot;/&gt;&lt;/elem&gt;&lt;elem m_fUsage=&quot;3.87420489000000145552E-01&quot;&gt;&lt;m_msothmcolidx val=&quot;0&quot;/&gt;&lt;m_rgb r=&quot;B5&quot; g=&quot;B5&quot; b=&quot;B5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dezcmcQpiqB4DjHwmc5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aPyZFETbyGofyFMhrq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9.2RVTZW9Vy36uQ5P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3Je8RdRhGfwTKDCCHl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Firm Format - template_Blue">
  <a:themeElements>
    <a:clrScheme name="LETSEMA">
      <a:dk1>
        <a:srgbClr val="303333"/>
      </a:dk1>
      <a:lt1>
        <a:srgbClr val="FFFFFF"/>
      </a:lt1>
      <a:dk2>
        <a:srgbClr val="0A2E46"/>
      </a:dk2>
      <a:lt2>
        <a:srgbClr val="FFFFFF"/>
      </a:lt2>
      <a:accent1>
        <a:srgbClr val="0A2E46"/>
      </a:accent1>
      <a:accent2>
        <a:srgbClr val="1A6968"/>
      </a:accent2>
      <a:accent3>
        <a:srgbClr val="303333"/>
      </a:accent3>
      <a:accent4>
        <a:srgbClr val="61AC4A"/>
      </a:accent4>
      <a:accent5>
        <a:srgbClr val="AED363"/>
      </a:accent5>
      <a:accent6>
        <a:srgbClr val="0A2E46"/>
      </a:accent6>
      <a:hlink>
        <a:srgbClr val="1A6968"/>
      </a:hlink>
      <a:folHlink>
        <a:srgbClr val="303333"/>
      </a:folHlink>
    </a:clrScheme>
    <a:fontScheme name="LETSEMA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40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A2E4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EF4DF405C2B541AA7DD0FD02E6EFBA" ma:contentTypeVersion="4" ma:contentTypeDescription="Create a new document." ma:contentTypeScope="" ma:versionID="f5eee5d94656b593c7468dd407815981">
  <xsd:schema xmlns:xsd="http://www.w3.org/2001/XMLSchema" xmlns:xs="http://www.w3.org/2001/XMLSchema" xmlns:p="http://schemas.microsoft.com/office/2006/metadata/properties" xmlns:ns3="3835f9b5-07e0-4c00-a72e-b3d20549d0c2" targetNamespace="http://schemas.microsoft.com/office/2006/metadata/properties" ma:root="true" ma:fieldsID="391e35f1449357539be1fe846e1d2aad" ns3:_="">
    <xsd:import namespace="3835f9b5-07e0-4c00-a72e-b3d20549d0c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35f9b5-07e0-4c00-a72e-b3d20549d0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ECA3D99-488C-43E6-A7A7-F93B41C3DF5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B5F425C-CF43-4791-A93D-EE00D6362329}">
  <ds:schemaRefs>
    <ds:schemaRef ds:uri="3835f9b5-07e0-4c00-a72e-b3d20549d0c2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37E6653-A18A-49C5-AD58-C74546C380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835f9b5-07e0-4c00-a72e-b3d20549d0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237</TotalTime>
  <Words>81</Words>
  <Application>Microsoft Office PowerPoint</Application>
  <PresentationFormat>Widescreen</PresentationFormat>
  <Paragraphs>3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Segoe UI</vt:lpstr>
      <vt:lpstr>Segoe UI Light</vt:lpstr>
      <vt:lpstr>Segoe UI Semibold</vt:lpstr>
      <vt:lpstr>1_Office Theme</vt:lpstr>
      <vt:lpstr>Custom Design</vt:lpstr>
      <vt:lpstr>2_Firm Format - template_Blue</vt:lpstr>
      <vt:lpstr>think-cell Slide</vt:lpstr>
      <vt:lpstr>#RabiesEndsHere</vt:lpstr>
      <vt:lpstr>#RabiesEndsHere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fadzwa Mudyiwa</dc:creator>
  <cp:lastModifiedBy>Mpho Maja</cp:lastModifiedBy>
  <cp:revision>1389</cp:revision>
  <cp:lastPrinted>2020-03-10T11:53:15Z</cp:lastPrinted>
  <dcterms:created xsi:type="dcterms:W3CDTF">2017-08-25T12:51:03Z</dcterms:created>
  <dcterms:modified xsi:type="dcterms:W3CDTF">2020-09-15T08:0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EF4DF405C2B541AA7DD0FD02E6EFBA</vt:lpwstr>
  </property>
</Properties>
</file>